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drawings/vmlDrawing1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5402" r:id="rId2"/>
  </p:sldMasterIdLst>
  <p:notesMasterIdLst>
    <p:notesMasterId r:id="rId4"/>
  </p:notesMasterIdLst>
  <p:sldIdLst>
    <p:sldId id="259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0"/>
    <p:restoredTop sz="0"/>
  </p:normalViewPr>
  <p:slideViewPr>
    <p:cSldViewPr>
      <p:cViewPr varScale="1">
        <p:scale>
          <a:sx n="39" d="100"/>
          <a:sy n="39" d="100"/>
        </p:scale>
        <p:origin x="324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notesMaster" Target="notesMasters/notesMaster1.xml"/><Relationship Id="rId5" Type="http://schemas.openxmlformats.org/officeDocument/2006/relationships/tags" Target="tags/tag1.xml"/><Relationship Id="rId6" Type="http://schemas.openxmlformats.org/officeDocument/2006/relationships/presProps" Target="presProps.xml"/><Relationship Id="rId7" Type="http://schemas.openxmlformats.org/officeDocument/2006/relationships/viewProps" Target="viewProps.xml"/><Relationship Id="rId8" Type="http://schemas.openxmlformats.org/officeDocument/2006/relationships/theme" Target="theme/theme1.xml"/><Relationship Id="rId9" Type="http://schemas.openxmlformats.org/officeDocument/2006/relationships/tableStyles" Target="tableStyles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'1.0' encoding='UTF-8' standalone='yes'?>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7/18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t>【原始文本】</a:t>
            </a:r>
          </a:p>
          <a:p>
            <a:r>
              <a:t>人工智能的发展历程</a:t>
            </a:r>
          </a:p>
          <a:p/>
          <a:p>
            <a:r>
              <a:t>人工智能技术的发展经历了多个重要阶段。从1950年代的符号主义开始，强调逻辑推理和知识表示，到1980年代的专家系统兴起，再到近年来深度学习的突破性进展。</a:t>
            </a:r>
          </a:p>
          <a:p/>
          <a:p>
            <a:r>
              <a:t>当前阶段，大语言模型如GPT、Claude等展现出了前所未有的能力，能够进行复杂的文本理解、生成和推理。这些技术正在革新各个行业。</a:t>
            </a:r>
          </a:p>
          <a:p/>
          <a:p>
            <a:r>
              <a:t>未来发展趋势包括更智能化的AI助手、多模态AI系统，以及与人类更紧密的协作模式。人工智能将继续为人类社会带来创新和便利。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829911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6" Type="http://schemas.openxmlformats.org/officeDocument/2006/relationships/image" Target="../media/image2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1370586-043B-4551-AE02-804FEA46318F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881B370-42D9-4CA6-8148-25CE763853E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/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E316E84-03BE-4BBA-A513-92A13AB8D228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/>
              <a:t>主标题文字示意 </a:t>
            </a:r>
            <a:r>
              <a:rPr lang="en-US" altLang="zh-CN"/>
              <a:t>50</a:t>
            </a:r>
            <a:r>
              <a:rPr lang="en-CN"/>
              <a:t>pt</a:t>
            </a:r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/>
              <a:t>副标题文字示意</a:t>
            </a:r>
            <a:r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5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588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38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49979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CA55BBB-61B4-48BE-BE27-6AD22BFCCD2F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35F5C8C-0FED-4246-9338-9D7FAA914AE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E404AB1C-8C46-4890-A869-195B9D9A4035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5"/>
          </p:nvPr>
        </p:nvSpPr>
        <p:spPr/>
        <p:txBody>
          <a:bodyPr/>
          <a:lstStyle/>
          <a:p>
            <a:fld id="{582D423D-61BA-4316-837C-35EB9E2D92E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AB705D97-144E-4396-93F4-2207AA908E4D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/>
          </p:nvPr>
        </p:nvSpPr>
        <p:spPr/>
        <p:txBody>
          <a:bodyPr/>
          <a:lstStyle/>
          <a:p>
            <a:fld id="{EA66246E-4401-4653-8BF1-740C902BC22B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53D06058-5E9D-4113-AF41-41B8B4CF5B4F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/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3E01792B-D7B2-4DBE-A548-E4DA211C57D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FD0B7A-F5DD-4F40-B4CB-3B2C354B893A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94141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幻灯片" r:id="rId9" imgW="270" imgH="270" progId="TCLayout.ActiveDocument.1">
                  <p:embed/>
                </p:oleObj>
              </mc:Choice>
              <mc:Fallback>
                <p:oleObj name="think-cell 幻灯片" r:id="rId9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5396" r:id="rId2"/>
    <p:sldLayoutId id="2147485397" r:id="rId3"/>
    <p:sldLayoutId id="2147485400" r:id="rId4"/>
    <p:sldLayoutId id="2147485401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Font typeface="Arial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ct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ct val="0"/>
        </a:spcAft>
        <a:buFont typeface="Arial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ct val="0"/>
        </a:spcBef>
        <a:spcAft>
          <a:spcPts val="900"/>
        </a:spcAft>
        <a:buFont typeface="Arial" pitchFamily="34" charset="0"/>
        <a:buChar char="​"/>
        <a:defRPr lang="en-US" sz="2400" kern="1200" baseline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 userDrawn="1">
          <p15:clr>
            <a:srgbClr val="F26B43"/>
          </p15:clr>
        </p15:guide>
        <p15:guide id="2" pos="7256" userDrawn="1">
          <p15:clr>
            <a:srgbClr val="F26B43"/>
          </p15:clr>
        </p15:guide>
        <p15:guide id="3" orient="horz" pos="663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2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tags" Target="../tags/tag11.xml"/><Relationship Id="rId9" Type="http://schemas.openxmlformats.org/officeDocument/2006/relationships/slideLayout" Target="../slideLayouts/slideLayout16.xml"/><Relationship Id="rId10" Type="http://schemas.openxmlformats.org/officeDocument/2006/relationships/notesSlide" Target="../notesSlides/notesSlide1.xml"/><Relationship Id="rId11" Type="http://schemas.openxmlformats.org/officeDocument/2006/relationships/oleObject" Target="../embeddings/oleObject4.bin"/><Relationship Id="rId12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170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幻灯片" r:id="rId11" imgW="349" imgH="350" progId="TCLayout.ActiveDocument.1">
                  <p:embed/>
                </p:oleObj>
              </mc:Choice>
              <mc:Fallback>
                <p:oleObj name="think-cell 幻灯片" r:id="rId11" imgW="349" imgH="35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pPr>
              <a:defRPr sz="1600"/>
            </a:pPr>
            <a:r>
              <a:t>人工智能发展历程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D14A6A9-5070-22E3-FF0D-49FCFAB56EC8}"/>
              </a:ext>
            </a:extLst>
          </p:cNvPr>
          <p:cNvSpPr txBox="1"/>
          <p:nvPr/>
        </p:nvSpPr>
        <p:spPr bwMode="gray">
          <a:xfrm>
            <a:off x="1564141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sz="2400" dirty="0">
                <a:solidFill>
                  <a:schemeClr val="tx2"/>
                </a:solidFill>
              </a:rPr>
              <a:t>{content_1}</a:t>
            </a:r>
            <a:br>
              <a:rPr lang="en-US" sz="2400" dirty="0">
                <a:solidFill>
                  <a:schemeClr val="tx2"/>
                </a:solidFill>
              </a:rPr>
            </a:br>
            <a:r>
              <a:rPr lang="en-US" sz="1400" dirty="0"/>
              <a:t>{content_1_bullet_1}</a:t>
            </a:r>
            <a:br>
              <a:rPr lang="en-US" sz="1400" dirty="0"/>
            </a:br>
            <a:r>
              <a:rPr lang="en-US" altLang="zh-CN" sz="1400" dirty="0"/>
              <a:t>{content_1_bullet_2}</a:t>
            </a:r>
            <a:endParaRPr lang="en-US" sz="1400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ABB2C70E-F249-51C7-1682-911F1EC396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564141" y="19292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kumimoji="0" lang="en-US" altLang="zh-CN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1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3D6DB44C-2697-E26C-4839-D70442120BF8}"/>
              </a:ext>
            </a:extLst>
          </p:cNvPr>
          <p:cNvSpPr txBox="1"/>
          <p:nvPr/>
        </p:nvSpPr>
        <p:spPr bwMode="gray">
          <a:xfrm>
            <a:off x="4954007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2}</a:t>
            </a:r>
            <a:br>
              <a:rPr lang="en-US" sz="2400" dirty="0">
                <a:solidFill>
                  <a:schemeClr val="tx2"/>
                </a:solidFill>
              </a:rPr>
            </a:br>
            <a:r>
              <a:rPr lang="en-US" altLang="zh-CN" sz="1400" dirty="0"/>
              <a:t>{content_2_bullet_1}</a:t>
            </a:r>
            <a:br>
              <a:rPr lang="en-US" altLang="zh-CN" sz="1400" dirty="0"/>
            </a:br>
            <a:r>
              <a:rPr lang="en-US" altLang="zh-CN" sz="1400" dirty="0"/>
              <a:t>{content_2_bullet_2}</a:t>
            </a:r>
            <a:endParaRPr lang="en-US" sz="1400" dirty="0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1EC54BB-3542-C081-7156-653A67810BE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954007" y="19292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3998" b="1" dirty="0">
                <a:solidFill>
                  <a:schemeClr val="accent1"/>
                </a:solidFill>
              </a:rPr>
              <a:t>2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7EAC711E-9157-0276-4C64-10972A802F7D}"/>
              </a:ext>
            </a:extLst>
          </p:cNvPr>
          <p:cNvSpPr txBox="1"/>
          <p:nvPr/>
        </p:nvSpPr>
        <p:spPr bwMode="gray">
          <a:xfrm>
            <a:off x="8402665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3}</a:t>
            </a:r>
            <a:br>
              <a:rPr kumimoji="0" lang="en-US" sz="1199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altLang="zh-CN" sz="1400" dirty="0"/>
              <a:t>{content_3_bullet_1}</a:t>
            </a:r>
            <a:br>
              <a:rPr lang="en-US" altLang="zh-CN" sz="1400" dirty="0"/>
            </a:br>
            <a:r>
              <a:rPr lang="en-US" altLang="zh-CN" sz="1400" dirty="0"/>
              <a:t>{content_3_bullet_2}</a:t>
            </a:r>
            <a:endParaRPr lang="en-US" sz="1400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2BA17100-91AC-D860-D3F6-E1D8C4E3869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8402665" y="19292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kumimoji="0" lang="en-US" altLang="zh-CN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3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5C334F24-34F7-1131-3B6D-4204A9EF40DA}"/>
              </a:ext>
            </a:extLst>
          </p:cNvPr>
          <p:cNvSpPr txBox="1"/>
          <p:nvPr/>
        </p:nvSpPr>
        <p:spPr bwMode="gray">
          <a:xfrm>
            <a:off x="1564141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4}</a:t>
            </a:r>
            <a:br>
              <a:rPr kumimoji="0" lang="en-US" sz="1199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altLang="zh-CN" sz="1400" dirty="0"/>
              <a:t>{content_4_bullet_1}</a:t>
            </a:r>
            <a:br>
              <a:rPr lang="en-US" altLang="zh-CN" sz="1400" dirty="0"/>
            </a:br>
            <a:r>
              <a:rPr lang="en-US" altLang="zh-CN" sz="1400" dirty="0"/>
              <a:t>{content_4_bullet_2}</a:t>
            </a:r>
            <a:endParaRPr lang="en-US" sz="1400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127476D0-DAF6-DABA-902E-E77653B3AC8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1564141" y="39341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sz="3998" b="1" dirty="0">
                <a:solidFill>
                  <a:schemeClr val="accent1"/>
                </a:solidFill>
              </a:rPr>
              <a:t>4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0C4E54C2-ABF7-43DA-A6E3-29A47FA46E57}"/>
              </a:ext>
            </a:extLst>
          </p:cNvPr>
          <p:cNvSpPr txBox="1"/>
          <p:nvPr/>
        </p:nvSpPr>
        <p:spPr bwMode="gray">
          <a:xfrm>
            <a:off x="4954007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5}</a:t>
            </a:r>
            <a:br>
              <a:rPr lang="en-US" sz="2400" dirty="0">
                <a:solidFill>
                  <a:schemeClr val="tx2"/>
                </a:solidFill>
              </a:rPr>
            </a:br>
            <a:r>
              <a:rPr lang="en-US" altLang="zh-CN" sz="1400" dirty="0"/>
              <a:t>{content_5_bullet_1}</a:t>
            </a:r>
            <a:br>
              <a:rPr lang="en-US" altLang="zh-CN" sz="1400" dirty="0"/>
            </a:br>
            <a:r>
              <a:rPr lang="en-US" altLang="zh-CN" sz="1400" dirty="0"/>
              <a:t>{content_5_bullet_2}</a:t>
            </a:r>
            <a:endParaRPr lang="en-US" sz="1400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2C5BFF7A-EA27-E725-B93E-C57B73051F0F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954007" y="39341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sz="3998" b="1" dirty="0">
                <a:solidFill>
                  <a:schemeClr val="accent1"/>
                </a:solidFill>
              </a:rPr>
              <a:t>5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1BF6214A-8E19-9442-12E7-9A674DF28627}"/>
              </a:ext>
            </a:extLst>
          </p:cNvPr>
          <p:cNvSpPr txBox="1"/>
          <p:nvPr/>
        </p:nvSpPr>
        <p:spPr bwMode="gray">
          <a:xfrm>
            <a:off x="8402665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2400" dirty="0">
                <a:solidFill>
                  <a:schemeClr val="tx2"/>
                </a:solidFill>
              </a:rPr>
              <a:t>{content_6}</a:t>
            </a:r>
            <a:br>
              <a:rPr kumimoji="0" lang="en-US" sz="1199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altLang="zh-CN" sz="1400"/>
              <a:t>{content_6_bullet</a:t>
            </a:r>
            <a:r>
              <a:rPr lang="en-US" altLang="zh-CN" sz="1400" dirty="0"/>
              <a:t>_1}</a:t>
            </a:r>
            <a:br>
              <a:rPr lang="en-US" altLang="zh-CN" sz="1400"/>
            </a:br>
            <a:r>
              <a:rPr lang="en-US" altLang="zh-CN" sz="1400"/>
              <a:t>{content_6_bullet</a:t>
            </a:r>
            <a:r>
              <a:rPr lang="en-US" altLang="zh-CN" sz="1400" dirty="0"/>
              <a:t>_2}</a:t>
            </a:r>
            <a:endParaRPr lang="en-US" sz="1400" dirty="0"/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E641AAA9-F34C-E882-14CC-096A416B91E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8402665" y="39341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sz="3998" b="1" dirty="0">
                <a:solidFill>
                  <a:schemeClr val="accent1"/>
                </a:solidFill>
              </a:rPr>
              <a:t>6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FA754322-EC34-3CBC-92C5-274998ADE07D}"/>
              </a:ext>
            </a:extLst>
          </p:cNvPr>
          <p:cNvSpPr txBox="1"/>
          <p:nvPr/>
        </p:nvSpPr>
        <p:spPr>
          <a:xfrm>
            <a:off x="407988" y="6215906"/>
            <a:ext cx="16382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gendas, list, lists</a:t>
            </a:r>
          </a:p>
        </p:txBody>
      </p:sp>
    </p:spTree>
    <p:extLst>
      <p:ext uri="{BB962C8B-B14F-4D97-AF65-F5344CB8AC3E}">
        <p14:creationId xmlns:p14="http://schemas.microsoft.com/office/powerpoint/2010/main" val="8978652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23.09.14"/>
  <p:tag name="AS_TITLE" val="Aspose.Slides for .NET 4.0 Client Profile"/>
  <p:tag name="AS_VERSION" val="23.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lCZ4oMOXNKuzuCZ5K6ewc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lCZ4oMOXNKuzuCZ5K6ewcDRGF0YQAWAAAAAlBlcnNvbmFsSWQAAQAAAAAAAk5hbWUACwAAAFBlcnNvbmFsSWQAEFZlcnNpb24AAAAAAAlMYXN0V3JpdGUAJ78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42342079"/>
  <p:tag name="EMPOWERCHARTSPROPERTIES_SLOT" val="A"/>
  <p:tag name="RUNTIME_ID" val="283c235d-ce74-40f1-bb40-02226f94775f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5wFQAFQ/TRKjcYfsArPBj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wFQAFQ/TRKjcYfsArPBjEDRGF0YQAWAAAAAlBlcnNvbmFsSWQAAQAAAAAAAk5hbWUACwAAAFBlcnNvbmFsSWQAEFZlcnNpb24AAAAAAAlMYXN0V3JpdGUAL8Y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60307503"/>
  <p:tag name="EMPOWERCHARTSPROPERTIES_SLOT" val="A"/>
  <p:tag name="RUNTIME_ID" val="b22f00d3-71ab-422c-b3fb-101ee49a991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SFYX4kopApILWYxV96w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SFYX4kopApILWYxV96wcDRGF0YQAWAAAAAlBlcnNvbmFsSWQAAQAAAAAAAk5hbWUACwAAAFBlcnNvbmFsSWQAEFZlcnNpb24AAAAAAAlMYXN0V3JpdGUA4bw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36334127"/>
  <p:tag name="EMPOWERCHARTSPROPERTIES_SLOT" val="A"/>
  <p:tag name="RUNTIME_ID" val="fa1caea9-8ff0-4518-a1d0-5f190f62ad3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6p62Gf1Tl1LmuhZF/CWdn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p62Gf1Tl1LmuhZF/CWdnkDRGF0YQAWAAAAAlBlcnNvbmFsSWQAAQAAAAAAAk5hbWUACwAAAFBlcnNvbmFsSWQAEFZlcnNpb24AAAAAAAlMYXN0V3JpdGUAksE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48349811"/>
  <p:tag name="EMPOWERCHARTSPROPERTIES_SLOT" val="A"/>
  <p:tag name="RUNTIME_ID" val="6817607c-aac0-46f0-ae25-b7365d7721d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Z/zIsjzUJJn2kNt0KTO6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Z/zIsjzUJJn2kNt0KTO6kDRGF0YQAWAAAAAlBlcnNvbmFsSWQAAQAAAAAAAk5hbWUACwAAAFBlcnNvbmFsSWQAEFZlcnNpb24AAAAAAAlMYXN0V3JpdGUA28M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54132156"/>
  <p:tag name="EMPOWERCHARTSPROPERTIES_SLOT" val="A"/>
  <p:tag name="RUNTIME_ID" val="3d761938-5af3-419f-9472-a11b6a933f9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tbP+OGMuRJkAQy5fMPOaU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tbP+OGMuRJkAQy5fMPOaUDRGF0YQAWAAAAAlBlcnNvbmFsSWQAAQAAAAAAAk5hbWUACwAAAFBlcnNvbmFsSWQAEFZlcnNpb24AAAAAAAlMYXN0V3JpdGUAEL0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36801735"/>
  <p:tag name="EMPOWERCHARTSPROPERTIES_SLOT" val="A"/>
  <p:tag name="RUNTIME_ID" val="f554e5cd-95d6-4bea-9d06-e105c03ffe7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%20Ｐゴシック"/>
        <a:font script="Hang" typeface="맑은%20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%20Ｐゴシック"/>
        <a:font script="Hang" typeface="맑은%20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Arial"/>
      </a:majorFont>
      <a:minorFont>
        <a:latin typeface="理想品牌字体 2022"/>
        <a:ea typeface="理想品牌字体 2022"/>
        <a:cs typeface="Arial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Trebuchet MS"/>
        <a:cs typeface="Arial"/>
      </a:majorFont>
      <a:minorFont>
        <a:latin typeface="Trebuchet MS"/>
        <a:ea typeface="Trebuchet MS"/>
        <a:cs typeface="Arial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</TotalTime>
  <Words>172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理想品牌字体 2022</vt:lpstr>
      <vt:lpstr>Arial</vt:lpstr>
      <vt:lpstr>Calibri</vt:lpstr>
      <vt:lpstr>Trebuchet MS</vt:lpstr>
      <vt:lpstr>Office Theme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cp:lastModifiedBy>贾轶涵</cp:lastModifiedBy>
  <cp:revision>7</cp:revision>
  <cp:lastPrinted>2025-06-03T10:34:13Z</cp:lastPrinted>
  <dcterms:created xsi:type="dcterms:W3CDTF">2025-06-03T02:34:13Z</dcterms:created>
  <dcterms:modified xsi:type="dcterms:W3CDTF">2025-07-18T07:54:33Z</dcterms:modified>
</cp:coreProperties>
</file>